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58" r:id="rId5"/>
    <p:sldMasterId id="2147483662" r:id="rId6"/>
    <p:sldMasterId id="2147483666" r:id="rId7"/>
    <p:sldMasterId id="2147483670" r:id="rId8"/>
    <p:sldMasterId id="2147483674" r:id="rId9"/>
  </p:sldMasterIdLst>
  <p:notesMasterIdLst>
    <p:notesMasterId r:id="rId13"/>
  </p:notesMasterIdLst>
  <p:sldIdLst>
    <p:sldId id="874" r:id="rId10"/>
    <p:sldId id="879" r:id="rId11"/>
    <p:sldId id="899" r:id="rId12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ational Grid" initials="NG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8F5FD"/>
    <a:srgbClr val="E8EAF1"/>
    <a:srgbClr val="CED1E1"/>
    <a:srgbClr val="40D1F5"/>
    <a:srgbClr val="FFFFFF"/>
    <a:srgbClr val="B1D6E8"/>
    <a:srgbClr val="84B8DA"/>
    <a:srgbClr val="9C4877"/>
    <a:srgbClr val="2B80B1"/>
    <a:srgbClr val="9CCB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88" autoAdjust="0"/>
    <p:restoredTop sz="94660"/>
  </p:normalViewPr>
  <p:slideViewPr>
    <p:cSldViewPr>
      <p:cViewPr>
        <p:scale>
          <a:sx n="100" d="100"/>
          <a:sy n="100" d="100"/>
        </p:scale>
        <p:origin x="-864" y="-46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CC7C86-2D66-4C55-8F99-E153512351BA}" type="datetimeFigureOut">
              <a:rPr lang="en-GB" smtClean="0"/>
              <a:t>30/07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2357B9-A31F-4FC7-A38A-70DF36F645F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29643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438" y="739775"/>
            <a:ext cx="6583362" cy="3703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E6C698-D02E-4E32-B43B-0820C95FE094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7347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2357B9-A31F-4FC7-A38A-70DF36F645F3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905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30"/>
            <a:ext cx="7772400" cy="110251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0393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166374"/>
            <a:ext cx="9144000" cy="97155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3759882"/>
            <a:ext cx="9144000" cy="95657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856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1870045"/>
            <a:ext cx="7772400" cy="67032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2517745"/>
            <a:ext cx="6400800" cy="59412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00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42360"/>
            <a:ext cx="8688388" cy="7239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681540"/>
            <a:ext cx="8686800" cy="345638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621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2679762"/>
            <a:ext cx="9144000" cy="64807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3543858"/>
            <a:ext cx="9144000" cy="54006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xfrm>
            <a:off x="2565408" y="195496"/>
            <a:ext cx="4200525" cy="13096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xfrm>
            <a:off x="7884368" y="134765"/>
            <a:ext cx="7620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0262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1870045"/>
            <a:ext cx="7772400" cy="67032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2517745"/>
            <a:ext cx="6400800" cy="59412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6899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33468"/>
            <a:ext cx="8688388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idx="1"/>
          </p:nvPr>
        </p:nvSpPr>
        <p:spPr bwMode="auto">
          <a:xfrm>
            <a:off x="228600" y="842693"/>
            <a:ext cx="8686800" cy="38353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5819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2679762"/>
            <a:ext cx="9144000" cy="64807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3543858"/>
            <a:ext cx="9144000" cy="54006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xfrm>
            <a:off x="2565408" y="195495"/>
            <a:ext cx="4200525" cy="13096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xfrm>
            <a:off x="7884368" y="134765"/>
            <a:ext cx="7620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28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1870045"/>
            <a:ext cx="7772400" cy="67032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2517745"/>
            <a:ext cx="6400800" cy="59412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0768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519522"/>
            <a:ext cx="8688388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idx="1"/>
          </p:nvPr>
        </p:nvSpPr>
        <p:spPr bwMode="auto">
          <a:xfrm>
            <a:off x="228600" y="1328747"/>
            <a:ext cx="8686800" cy="3079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66094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2679762"/>
            <a:ext cx="9144000" cy="64807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3543858"/>
            <a:ext cx="9144000" cy="54006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xfrm>
            <a:off x="2565408" y="195490"/>
            <a:ext cx="4200525" cy="13096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xfrm>
            <a:off x="7884368" y="134765"/>
            <a:ext cx="7620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5998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1192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1870045"/>
            <a:ext cx="7772400" cy="67032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2517745"/>
            <a:ext cx="6400800" cy="59412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4655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519522"/>
            <a:ext cx="8688388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idx="1"/>
          </p:nvPr>
        </p:nvSpPr>
        <p:spPr bwMode="auto">
          <a:xfrm>
            <a:off x="228600" y="1328742"/>
            <a:ext cx="8686800" cy="3079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53193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2679762"/>
            <a:ext cx="9144000" cy="64807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1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3543858"/>
            <a:ext cx="9144000" cy="54006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xfrm>
            <a:off x="2565403" y="195487"/>
            <a:ext cx="4200525" cy="13096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xfrm>
            <a:off x="7884368" y="134765"/>
            <a:ext cx="7620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5503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1870045"/>
            <a:ext cx="7772400" cy="67032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2517745"/>
            <a:ext cx="6400800" cy="59412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8536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it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33468"/>
            <a:ext cx="8688388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7" name="Rectangle 9"/>
          <p:cNvSpPr>
            <a:spLocks noGrp="1" noChangeArrowheads="1"/>
          </p:cNvSpPr>
          <p:nvPr>
            <p:ph idx="1"/>
          </p:nvPr>
        </p:nvSpPr>
        <p:spPr bwMode="auto">
          <a:xfrm>
            <a:off x="228600" y="842684"/>
            <a:ext cx="8686800" cy="38353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30587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7301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00115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00115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5506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57200" y="123478"/>
            <a:ext cx="8229600" cy="6375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8097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1219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7238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0750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1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4219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.jp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.jp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5.jp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5.jp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5.jpg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23478"/>
            <a:ext cx="8229600" cy="6375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59582"/>
            <a:ext cx="8229600" cy="36724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9291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2800" b="1" kern="1200">
          <a:solidFill>
            <a:srgbClr val="3E5AA8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42863"/>
            <a:ext cx="8688388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681040"/>
            <a:ext cx="8686800" cy="34028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39952" y="4817490"/>
            <a:ext cx="864096" cy="346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4675585"/>
            <a:ext cx="7620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579596" y="141480"/>
            <a:ext cx="1306488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FE9DEA2-EE3A-4EC9-821F-49987E18A19C}" type="slidenum">
              <a:rPr lang="en-GB" smtClean="0">
                <a:solidFill>
                  <a:srgbClr val="000000">
                    <a:tint val="75000"/>
                  </a:srgbClr>
                </a:solidFill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2375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519522"/>
            <a:ext cx="8688388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328748"/>
            <a:ext cx="8686800" cy="3079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8" y="4962535"/>
            <a:ext cx="4200525" cy="130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7884368" y="4901804"/>
            <a:ext cx="7620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80330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519522"/>
            <a:ext cx="8688388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328747"/>
            <a:ext cx="8686800" cy="3079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8" y="4962534"/>
            <a:ext cx="4200525" cy="130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>
              <a:defRPr/>
            </a:pPr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7884368" y="4901804"/>
            <a:ext cx="7620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99236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519522"/>
            <a:ext cx="8688388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328742"/>
            <a:ext cx="8686800" cy="3079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8" y="4962529"/>
            <a:ext cx="4200525" cy="130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>
              <a:defRPr/>
            </a:pPr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7884368" y="4901804"/>
            <a:ext cx="7620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54930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519522"/>
            <a:ext cx="8688388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328739"/>
            <a:ext cx="8686800" cy="3079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3" y="4962526"/>
            <a:ext cx="4200525" cy="130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7884368" y="4901804"/>
            <a:ext cx="7620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45702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ctrTitle" sz="quarter"/>
          </p:nvPr>
        </p:nvSpPr>
        <p:spPr>
          <a:xfrm>
            <a:off x="827584" y="1923678"/>
            <a:ext cx="7560840" cy="9715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GB" i="1" dirty="0" smtClean="0">
                <a:solidFill>
                  <a:schemeClr val="tx2"/>
                </a:solidFill>
              </a:rPr>
              <a:t>XRN4914 </a:t>
            </a:r>
            <a:r>
              <a:rPr lang="en-GB" i="1" dirty="0">
                <a:solidFill>
                  <a:schemeClr val="tx2"/>
                </a:solidFill>
              </a:rPr>
              <a:t>MOD 0651- Retrospective Data Update Provision</a:t>
            </a:r>
            <a:endParaRPr lang="en-GB" kern="1200" dirty="0">
              <a:solidFill>
                <a:schemeClr val="tx2"/>
              </a:solidFill>
            </a:endParaRPr>
          </a:p>
        </p:txBody>
      </p:sp>
      <p:sp>
        <p:nvSpPr>
          <p:cNvPr id="4099" name="Subtitle 2"/>
          <p:cNvSpPr>
            <a:spLocks noGrp="1"/>
          </p:cNvSpPr>
          <p:nvPr>
            <p:ph type="subTitle" sz="quarter" idx="1"/>
          </p:nvPr>
        </p:nvSpPr>
        <p:spPr>
          <a:xfrm>
            <a:off x="79027" y="3147814"/>
            <a:ext cx="8957469" cy="648072"/>
          </a:xfrm>
        </p:spPr>
        <p:txBody>
          <a:bodyPr/>
          <a:lstStyle/>
          <a:p>
            <a:r>
              <a:rPr lang="en-GB" sz="2800" b="1" dirty="0" smtClean="0">
                <a:solidFill>
                  <a:srgbClr val="1D3E61"/>
                </a:solidFill>
                <a:latin typeface="+mj-lt"/>
                <a:ea typeface="+mj-ea"/>
                <a:cs typeface="Arial"/>
              </a:rPr>
              <a:t>ChMC</a:t>
            </a:r>
            <a:r>
              <a:rPr lang="en-GB" sz="2800" b="1" dirty="0" smtClean="0">
                <a:solidFill>
                  <a:srgbClr val="1D3E61"/>
                </a:solidFill>
                <a:latin typeface="+mj-lt"/>
                <a:ea typeface="+mj-ea"/>
                <a:cs typeface="Arial"/>
              </a:rPr>
              <a:t> </a:t>
            </a:r>
            <a:r>
              <a:rPr lang="en-GB" sz="2800" b="1" dirty="0" smtClean="0">
                <a:solidFill>
                  <a:srgbClr val="1D3E61"/>
                </a:solidFill>
                <a:latin typeface="+mj-lt"/>
                <a:ea typeface="+mj-ea"/>
                <a:cs typeface="Arial"/>
              </a:rPr>
              <a:t>– </a:t>
            </a:r>
            <a:r>
              <a:rPr lang="en-GB" sz="2800" b="1" dirty="0" smtClean="0">
                <a:solidFill>
                  <a:srgbClr val="1D3E61"/>
                </a:solidFill>
                <a:latin typeface="+mj-lt"/>
                <a:ea typeface="+mj-ea"/>
                <a:cs typeface="Arial"/>
              </a:rPr>
              <a:t>7</a:t>
            </a:r>
            <a:r>
              <a:rPr lang="en-GB" sz="2800" b="1" baseline="30000" dirty="0" smtClean="0">
                <a:solidFill>
                  <a:srgbClr val="1D3E61"/>
                </a:solidFill>
                <a:latin typeface="+mj-lt"/>
                <a:ea typeface="+mj-ea"/>
                <a:cs typeface="Arial"/>
              </a:rPr>
              <a:t>th</a:t>
            </a:r>
            <a:r>
              <a:rPr lang="en-GB" sz="2800" b="1" dirty="0" smtClean="0">
                <a:solidFill>
                  <a:srgbClr val="1D3E61"/>
                </a:solidFill>
                <a:latin typeface="+mj-lt"/>
                <a:ea typeface="+mj-ea"/>
                <a:cs typeface="Arial"/>
              </a:rPr>
              <a:t> </a:t>
            </a:r>
            <a:r>
              <a:rPr lang="en-GB" sz="2800" b="1" dirty="0" smtClean="0">
                <a:solidFill>
                  <a:srgbClr val="1D3E61"/>
                </a:solidFill>
                <a:latin typeface="+mj-lt"/>
                <a:ea typeface="+mj-ea"/>
                <a:cs typeface="Arial"/>
              </a:rPr>
              <a:t>August </a:t>
            </a:r>
            <a:r>
              <a:rPr lang="en-GB" sz="2800" b="1" kern="1200" dirty="0" smtClean="0">
                <a:solidFill>
                  <a:srgbClr val="1D3E61"/>
                </a:solidFill>
                <a:latin typeface="+mj-lt"/>
                <a:ea typeface="+mj-ea"/>
                <a:cs typeface="Arial"/>
              </a:rPr>
              <a:t>2019</a:t>
            </a:r>
            <a:endParaRPr lang="en-GB" sz="2800" b="1" kern="1200" dirty="0">
              <a:solidFill>
                <a:srgbClr val="1D3E61"/>
              </a:solidFill>
              <a:latin typeface="+mj-lt"/>
              <a:ea typeface="+mj-ea"/>
              <a:cs typeface="Arial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447607" y="238708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568940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BBF64D1-DD4B-479C-8274-060EA4CFB2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52545"/>
            <a:ext cx="8229600" cy="637580"/>
          </a:xfrm>
        </p:spPr>
        <p:txBody>
          <a:bodyPr anchor="t">
            <a:normAutofit/>
          </a:bodyPr>
          <a:lstStyle/>
          <a:p>
            <a:r>
              <a:rPr lang="en-GB" dirty="0" smtClean="0">
                <a:solidFill>
                  <a:srgbClr val="FFC000"/>
                </a:solidFill>
              </a:rPr>
              <a:t>Proof of Concept: Progress update</a:t>
            </a:r>
            <a:endParaRPr lang="en-GB" dirty="0">
              <a:solidFill>
                <a:srgbClr val="FFC000"/>
              </a:solidFill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="" xmlns:a16="http://schemas.microsoft.com/office/drawing/2014/main" id="{60E62DC6-3EBE-4901-B700-870330337C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14532298"/>
              </p:ext>
            </p:extLst>
          </p:nvPr>
        </p:nvGraphicFramePr>
        <p:xfrm>
          <a:off x="225860" y="868930"/>
          <a:ext cx="8594612" cy="3863060"/>
        </p:xfrm>
        <a:graphic>
          <a:graphicData uri="http://schemas.openxmlformats.org/drawingml/2006/table">
            <a:tbl>
              <a:tblPr firstRow="1" bandRow="1"/>
              <a:tblGrid>
                <a:gridCol w="121067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38393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164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GB" sz="105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r>
                        <a:rPr lang="en-GB" sz="1050" b="1" baseline="300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lang="en-GB" sz="105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July 2019</a:t>
                      </a:r>
                      <a:endParaRPr lang="en-GB" sz="1050" b="1" baseline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0" marR="68570" marT="34262" marB="34262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ture Progress update</a:t>
                      </a:r>
                    </a:p>
                  </a:txBody>
                  <a:tcPr marL="68570" marR="68570" marT="34262" marB="34262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422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kern="1200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hedule</a:t>
                      </a:r>
                    </a:p>
                    <a:p>
                      <a:pPr algn="ctr"/>
                      <a:endParaRPr lang="en-GB" sz="1050" b="1" baseline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70" marR="68570" marT="34262" marB="34262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Procurement: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10</a:t>
                      </a:r>
                      <a:r>
                        <a:rPr kumimoji="0" lang="en-US" sz="1050" b="0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kumimoji="0" lang="en-US" sz="105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 July: NDA contract issued to 3</a:t>
                      </a:r>
                      <a:r>
                        <a:rPr kumimoji="0" lang="en-US" sz="1050" b="0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rd</a:t>
                      </a:r>
                      <a:r>
                        <a:rPr kumimoji="0" lang="en-US" sz="105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 partie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12</a:t>
                      </a:r>
                      <a:r>
                        <a:rPr kumimoji="0" lang="en-US" sz="1050" b="0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kumimoji="0" lang="en-US" sz="105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 July: Request for Quote (RFQ) reviewed by procurement and issued to 3</a:t>
                      </a:r>
                      <a:r>
                        <a:rPr kumimoji="0" lang="en-US" sz="1050" b="0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rd</a:t>
                      </a:r>
                      <a:r>
                        <a:rPr kumimoji="0" lang="en-US" sz="105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 parties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kumimoji="0" lang="en-US" sz="1050" b="1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 July: RFQ updated and re-issued with Stage 2 requirements; deadline extended by 2 day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25</a:t>
                      </a:r>
                      <a:r>
                        <a:rPr kumimoji="0" lang="en-US" sz="1050" b="1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 July: Review of response templates and agreement on proces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30</a:t>
                      </a:r>
                      <a:r>
                        <a:rPr kumimoji="0" lang="en-US" sz="1050" b="1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 July: Agreement on selection criteria for assessing RFQ response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31</a:t>
                      </a:r>
                      <a:r>
                        <a:rPr kumimoji="0" lang="en-US" sz="1050" b="1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st</a:t>
                      </a: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 July: RFQ responses due back by 10a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Stage 2 requirements: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11</a:t>
                      </a:r>
                      <a:r>
                        <a:rPr kumimoji="0" lang="en-US" sz="1050" b="1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 &amp; 18</a:t>
                      </a:r>
                      <a:r>
                        <a:rPr kumimoji="0" lang="en-US" sz="1050" b="1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 July: Capture of requirement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26</a:t>
                      </a:r>
                      <a:r>
                        <a:rPr kumimoji="0" lang="en-US" sz="1050" b="1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th</a:t>
                      </a: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 July: SME approval received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kumimoji="0" lang="en-US" sz="1050" b="1" i="0" u="none" strike="noStrike" kern="1200" cap="none" normalizeH="0" baseline="3000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st</a:t>
                      </a: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 Aug: outstanding approval being sought</a:t>
                      </a:r>
                    </a:p>
                  </a:txBody>
                  <a:tcPr marL="68570" marR="68570" marT="34262" marB="34262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92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GB" sz="105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s </a:t>
                      </a:r>
                      <a:r>
                        <a:rPr lang="en-GB" sz="105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d Issues</a:t>
                      </a:r>
                    </a:p>
                  </a:txBody>
                  <a:tcPr marL="68570" marR="68570" marT="34262" marB="34262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Issue: </a:t>
                      </a:r>
                      <a:r>
                        <a:rPr kumimoji="0" lang="en-US" sz="105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project is behind original draft plan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Issue: </a:t>
                      </a:r>
                      <a:r>
                        <a:rPr kumimoji="0" lang="en-US" sz="105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data team / security team resources not allocated to project; options being discussed internally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Risk: </a:t>
                      </a:r>
                      <a:r>
                        <a:rPr kumimoji="0" lang="en-US" sz="105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that cost required to deliver project is greater than project funding (2017 day rates used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Risk</a:t>
                      </a:r>
                      <a:r>
                        <a:rPr kumimoji="0" lang="en-US" sz="105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: availability of resources (environments/people) may impact plan for Retro</a:t>
                      </a:r>
                    </a:p>
                  </a:txBody>
                  <a:tcPr marL="68570" marR="68570" marT="34262" marB="34262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273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GB" sz="105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st</a:t>
                      </a:r>
                    </a:p>
                  </a:txBody>
                  <a:tcPr marL="68570" marR="68570" marT="34262" marB="34262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0" lang="en-GB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Project cost: </a:t>
                      </a:r>
                      <a:r>
                        <a:rPr kumimoji="0" lang="en-GB" sz="105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to be re-confirme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kumimoji="0" lang="en-GB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Project funding: </a:t>
                      </a:r>
                      <a:r>
                        <a:rPr kumimoji="0" lang="en-GB" sz="105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£1.5 mill; £700k for 2019 and £800k for 2020</a:t>
                      </a:r>
                    </a:p>
                  </a:txBody>
                  <a:tcPr marL="68570" marR="68570" marT="34262" marB="34262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84222">
                <a:tc>
                  <a:txBody>
                    <a:bodyPr/>
                    <a:lstStyle/>
                    <a:p>
                      <a:pPr algn="ctr"/>
                      <a:r>
                        <a:rPr lang="en-GB" sz="105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ources</a:t>
                      </a:r>
                    </a:p>
                  </a:txBody>
                  <a:tcPr marL="68570" marR="68570" marT="34262" marB="34262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Project mobilising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Engaged with other programmes of work for consequential impacts / synergies (CSSC, AML/ASP,UIG)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SI agreed for data cleanse / enduring solution of project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US" sz="105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Verdana" pitchFamily="34" charset="0"/>
                          <a:cs typeface="Arial" panose="020B0604020202020204" pitchFamily="34" charset="0"/>
                        </a:rPr>
                        <a:t>Engagement approach to be agreed with Customers</a:t>
                      </a:r>
                    </a:p>
                  </a:txBody>
                  <a:tcPr marL="68570" marR="68570" marT="34262" marB="34262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5" name="Title 1">
            <a:extLst>
              <a:ext uri="{FF2B5EF4-FFF2-40B4-BE49-F238E27FC236}">
                <a16:creationId xmlns="" xmlns:a16="http://schemas.microsoft.com/office/drawing/2014/main" id="{3BBF64D1-DD4B-479C-8274-060EA4CFB223}"/>
              </a:ext>
            </a:extLst>
          </p:cNvPr>
          <p:cNvSpPr txBox="1">
            <a:spLocks/>
          </p:cNvSpPr>
          <p:nvPr/>
        </p:nvSpPr>
        <p:spPr>
          <a:xfrm>
            <a:off x="107504" y="4803998"/>
            <a:ext cx="8229600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rgbClr val="3E5AA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GB" sz="800" i="1" dirty="0" smtClean="0">
                <a:solidFill>
                  <a:schemeClr val="accent1"/>
                </a:solidFill>
              </a:rPr>
              <a:t>XRN4914 MOD 0651 - Retrospective Data Update Provision</a:t>
            </a:r>
            <a:r>
              <a:rPr lang="en-GB" sz="800" dirty="0" smtClean="0">
                <a:solidFill>
                  <a:schemeClr val="accent1"/>
                </a:solidFill>
              </a:rPr>
              <a:t>  - DSG Update 5</a:t>
            </a:r>
            <a:r>
              <a:rPr lang="en-GB" sz="800" baseline="30000" dirty="0" smtClean="0">
                <a:solidFill>
                  <a:schemeClr val="accent1"/>
                </a:solidFill>
              </a:rPr>
              <a:t>th</a:t>
            </a:r>
            <a:r>
              <a:rPr lang="en-GB" sz="800" dirty="0" smtClean="0">
                <a:solidFill>
                  <a:schemeClr val="accent1"/>
                </a:solidFill>
              </a:rPr>
              <a:t> August</a:t>
            </a:r>
            <a:endParaRPr lang="en-GB" sz="800" b="0" dirty="0">
              <a:solidFill>
                <a:srgbClr val="FFC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537348" y="4804578"/>
            <a:ext cx="23952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b="1" i="1" dirty="0" smtClean="0"/>
              <a:t>Key: </a:t>
            </a:r>
            <a:r>
              <a:rPr lang="en-GB" sz="800" b="1" i="1" dirty="0" smtClean="0">
                <a:solidFill>
                  <a:schemeClr val="tx2"/>
                </a:solidFill>
              </a:rPr>
              <a:t>highlighted text </a:t>
            </a:r>
            <a:r>
              <a:rPr lang="en-GB" sz="800" i="1" dirty="0" smtClean="0">
                <a:solidFill>
                  <a:schemeClr val="tx2"/>
                </a:solidFill>
              </a:rPr>
              <a:t>:</a:t>
            </a:r>
            <a:r>
              <a:rPr lang="en-GB" sz="800" i="1" dirty="0" smtClean="0"/>
              <a:t>update from last meeting</a:t>
            </a:r>
            <a:endParaRPr lang="en-GB" sz="800" i="1" dirty="0"/>
          </a:p>
        </p:txBody>
      </p:sp>
    </p:spTree>
    <p:extLst>
      <p:ext uri="{BB962C8B-B14F-4D97-AF65-F5344CB8AC3E}">
        <p14:creationId xmlns:p14="http://schemas.microsoft.com/office/powerpoint/2010/main" val="3112250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xt Steps </a:t>
            </a:r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="" xmlns:a16="http://schemas.microsoft.com/office/drawing/2014/main" id="{3BBF64D1-DD4B-479C-8274-060EA4CFB223}"/>
              </a:ext>
            </a:extLst>
          </p:cNvPr>
          <p:cNvSpPr txBox="1">
            <a:spLocks/>
          </p:cNvSpPr>
          <p:nvPr/>
        </p:nvSpPr>
        <p:spPr>
          <a:xfrm>
            <a:off x="107504" y="4803998"/>
            <a:ext cx="8229600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rgbClr val="3E5AA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GB" sz="800" i="1" dirty="0" smtClean="0">
                <a:solidFill>
                  <a:schemeClr val="accent1"/>
                </a:solidFill>
              </a:rPr>
              <a:t>XRN4914 MOD 0651 - Retrospective Data Update Provision</a:t>
            </a:r>
            <a:r>
              <a:rPr lang="en-GB" sz="800" dirty="0" smtClean="0">
                <a:solidFill>
                  <a:schemeClr val="accent1"/>
                </a:solidFill>
              </a:rPr>
              <a:t>   DSG Update 5</a:t>
            </a:r>
            <a:r>
              <a:rPr lang="en-GB" sz="800" baseline="30000" dirty="0" smtClean="0">
                <a:solidFill>
                  <a:schemeClr val="accent1"/>
                </a:solidFill>
              </a:rPr>
              <a:t>th</a:t>
            </a:r>
            <a:r>
              <a:rPr lang="en-GB" sz="800" dirty="0" smtClean="0">
                <a:solidFill>
                  <a:schemeClr val="accent1"/>
                </a:solidFill>
              </a:rPr>
              <a:t> August</a:t>
            </a:r>
            <a:endParaRPr lang="en-GB" sz="800" b="0" dirty="0">
              <a:solidFill>
                <a:srgbClr val="FFC000"/>
              </a:solidFill>
            </a:endParaRPr>
          </a:p>
        </p:txBody>
      </p:sp>
      <p:graphicFrame>
        <p:nvGraphicFramePr>
          <p:cNvPr id="10" name="Tabelle 80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6752"/>
              </p:ext>
            </p:extLst>
          </p:nvPr>
        </p:nvGraphicFramePr>
        <p:xfrm>
          <a:off x="539552" y="1053902"/>
          <a:ext cx="7776863" cy="33649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7646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909777"/>
                <a:gridCol w="845311"/>
                <a:gridCol w="84531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Activity</a:t>
                      </a:r>
                      <a:endParaRPr lang="en-US" sz="1200" dirty="0"/>
                    </a:p>
                  </a:txBody>
                  <a:tcPr anchor="ctr"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Update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 By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 Done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555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+mn-lt"/>
                        </a:rPr>
                        <a:t>Stage 2 requirements - detailed</a:t>
                      </a:r>
                      <a:r>
                        <a:rPr lang="en-US" sz="1200" baseline="0" dirty="0" smtClean="0">
                          <a:latin typeface="+mn-lt"/>
                        </a:rPr>
                        <a:t> requirement workshops to draft business rules to help derive the meaning of the data mismatches</a:t>
                      </a:r>
                      <a:endParaRPr lang="en-US" sz="1200" i="1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1" baseline="0" dirty="0" smtClean="0">
                          <a:latin typeface="+mn-lt"/>
                        </a:rPr>
                        <a:t>postponed to 1</a:t>
                      </a:r>
                      <a:r>
                        <a:rPr lang="en-US" sz="1200" i="1" baseline="30000" dirty="0" smtClean="0">
                          <a:latin typeface="+mn-lt"/>
                        </a:rPr>
                        <a:t>st</a:t>
                      </a:r>
                      <a:r>
                        <a:rPr lang="en-US" sz="1200" i="1" baseline="0" dirty="0" smtClean="0">
                          <a:latin typeface="+mn-lt"/>
                        </a:rPr>
                        <a:t> August</a:t>
                      </a:r>
                      <a:endParaRPr lang="en-US" sz="1200" i="1" dirty="0" smtClean="0">
                        <a:latin typeface="+mn-lt"/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31</a:t>
                      </a:r>
                      <a:r>
                        <a:rPr lang="en-US" sz="1200" baseline="300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t</a:t>
                      </a:r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July 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 smtClean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</a:tr>
              <a:tr h="504056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Continue engagement with 3</a:t>
                      </a:r>
                      <a:r>
                        <a:rPr lang="en-US" sz="1200" baseline="30000" dirty="0" smtClean="0">
                          <a:solidFill>
                            <a:schemeClr val="tx1"/>
                          </a:solidFill>
                        </a:rPr>
                        <a:t>rd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parties for the RFQ and receive responses</a:t>
                      </a:r>
                      <a:endParaRPr lang="en-US" sz="1200" i="1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i="1" baseline="0" dirty="0" smtClean="0">
                          <a:solidFill>
                            <a:schemeClr val="tx1"/>
                          </a:solidFill>
                        </a:rPr>
                        <a:t>extended to 31</a:t>
                      </a:r>
                      <a:r>
                        <a:rPr lang="en-US" sz="1200" i="1" baseline="30000" dirty="0" smtClean="0">
                          <a:solidFill>
                            <a:schemeClr val="tx1"/>
                          </a:solidFill>
                        </a:rPr>
                        <a:t>st</a:t>
                      </a:r>
                      <a:r>
                        <a:rPr lang="en-US" sz="1200" i="1" baseline="0" dirty="0" smtClean="0">
                          <a:solidFill>
                            <a:schemeClr val="tx1"/>
                          </a:solidFill>
                        </a:rPr>
                        <a:t> July 10am</a:t>
                      </a: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6</a:t>
                      </a:r>
                      <a:r>
                        <a:rPr lang="en-US" sz="1200" baseline="300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h</a:t>
                      </a:r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July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+mn-lt"/>
                        </a:rPr>
                        <a:t>Prepare assessment criteria </a:t>
                      </a:r>
                      <a:endParaRPr lang="en-US" sz="1200" i="1" dirty="0" smtClean="0"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+mn-lt"/>
                        </a:rPr>
                        <a:t>Review</a:t>
                      </a:r>
                      <a:r>
                        <a:rPr lang="en-US" sz="1200" baseline="0" dirty="0" smtClean="0">
                          <a:latin typeface="+mn-lt"/>
                        </a:rPr>
                        <a:t> and assess responses from RFQ; including review from Solution Architect</a:t>
                      </a:r>
                      <a:endParaRPr lang="en-US" sz="1200" i="1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ompleted</a:t>
                      </a:r>
                    </a:p>
                    <a:p>
                      <a:pPr algn="l"/>
                      <a:r>
                        <a:rPr lang="en-US" sz="1200" i="1" dirty="0" smtClean="0">
                          <a:solidFill>
                            <a:schemeClr val="tx1"/>
                          </a:solidFill>
                        </a:rPr>
                        <a:t>Scheduled for 1</a:t>
                      </a:r>
                      <a:r>
                        <a:rPr lang="en-US" sz="1200" i="1" baseline="30000" dirty="0" smtClean="0">
                          <a:solidFill>
                            <a:schemeClr val="tx1"/>
                          </a:solidFill>
                        </a:rPr>
                        <a:t>st</a:t>
                      </a:r>
                      <a:r>
                        <a:rPr lang="en-US" sz="1200" i="1" dirty="0" smtClean="0">
                          <a:solidFill>
                            <a:schemeClr val="tx1"/>
                          </a:solidFill>
                        </a:rPr>
                        <a:t> August</a:t>
                      </a:r>
                      <a:endParaRPr lang="en-US" sz="120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9</a:t>
                      </a:r>
                      <a:r>
                        <a:rPr lang="en-US" sz="1200" baseline="300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h</a:t>
                      </a:r>
                      <a:r>
                        <a:rPr lang="en-US" sz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ug 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</a:tr>
              <a:tr h="4068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+mn-lt"/>
                        </a:rPr>
                        <a:t>Prepare</a:t>
                      </a:r>
                      <a:r>
                        <a:rPr lang="en-US" sz="1200" baseline="0" dirty="0" smtClean="0">
                          <a:latin typeface="+mn-lt"/>
                        </a:rPr>
                        <a:t> Business Case for IRC (14</a:t>
                      </a:r>
                      <a:r>
                        <a:rPr lang="en-US" sz="1200" baseline="30000" dirty="0" smtClean="0">
                          <a:latin typeface="+mn-lt"/>
                        </a:rPr>
                        <a:t>th</a:t>
                      </a:r>
                      <a:r>
                        <a:rPr lang="en-US" sz="1200" baseline="0" dirty="0" smtClean="0">
                          <a:latin typeface="+mn-lt"/>
                        </a:rPr>
                        <a:t> August)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9</a:t>
                      </a:r>
                      <a:r>
                        <a:rPr lang="en-US" sz="1200" baseline="300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h</a:t>
                      </a:r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Aug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</a:tr>
              <a:tr h="4068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+mn-lt"/>
                        </a:rPr>
                        <a:t>Identify an internal recommendation and take to DSG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9</a:t>
                      </a:r>
                      <a:r>
                        <a:rPr lang="en-US" sz="1200" baseline="300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h</a:t>
                      </a:r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Aug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</a:tr>
              <a:tr h="4068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latin typeface="+mn-lt"/>
                        </a:rPr>
                        <a:t>Agree Customer</a:t>
                      </a:r>
                      <a:r>
                        <a:rPr lang="en-US" sz="1200" baseline="0" dirty="0" smtClean="0">
                          <a:latin typeface="+mn-lt"/>
                        </a:rPr>
                        <a:t> engagement approach and take to DSG</a:t>
                      </a:r>
                      <a:endParaRPr lang="en-US" sz="12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9</a:t>
                      </a:r>
                      <a:r>
                        <a:rPr lang="en-US" sz="1200" baseline="300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h</a:t>
                      </a:r>
                      <a:r>
                        <a:rPr lang="en-US" sz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Aug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sp>
        <p:nvSpPr>
          <p:cNvPr id="13" name="Rechteck 4"/>
          <p:cNvSpPr/>
          <p:nvPr/>
        </p:nvSpPr>
        <p:spPr bwMode="gray">
          <a:xfrm>
            <a:off x="528886" y="1033314"/>
            <a:ext cx="7776864" cy="3410644"/>
          </a:xfrm>
          <a:prstGeom prst="rect">
            <a:avLst/>
          </a:prstGeom>
          <a:noFill/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>
              <a:buClr>
                <a:srgbClr val="3C3732"/>
              </a:buClr>
            </a:pPr>
            <a:endParaRPr lang="en-GB" sz="900" err="1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071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6kE1ty90in0JwvfCqEjA"/>
  <p:tag name="VCTCREATESHAPEHANDLED" val="0"/>
</p:tagLst>
</file>

<file path=ppt/theme/theme1.xml><?xml version="1.0" encoding="utf-8"?>
<a:theme xmlns:a="http://schemas.openxmlformats.org/drawingml/2006/main" name="Office Theme">
  <a:themeElements>
    <a:clrScheme name="Xoserve 2018">
      <a:dk1>
        <a:sysClr val="windowText" lastClr="000000"/>
      </a:dk1>
      <a:lt1>
        <a:sysClr val="window" lastClr="FFFFFF"/>
      </a:lt1>
      <a:dk2>
        <a:srgbClr val="1D3E61"/>
      </a:dk2>
      <a:lt2>
        <a:srgbClr val="EEECE1"/>
      </a:lt2>
      <a:accent1>
        <a:srgbClr val="3E5AA8"/>
      </a:accent1>
      <a:accent2>
        <a:srgbClr val="D75733"/>
      </a:accent2>
      <a:accent3>
        <a:srgbClr val="56CF9E"/>
      </a:accent3>
      <a:accent4>
        <a:srgbClr val="6440A3"/>
      </a:accent4>
      <a:accent5>
        <a:srgbClr val="40D1F5"/>
      </a:accent5>
      <a:accent6>
        <a:srgbClr val="FCBC55"/>
      </a:accent6>
      <a:hlink>
        <a:srgbClr val="6440A3"/>
      </a:hlink>
      <a:folHlink>
        <a:srgbClr val="D2232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E927B77B7F39148B9CB17AE711C8D35" ma:contentTypeVersion="0" ma:contentTypeDescription="Create a new document." ma:contentTypeScope="" ma:versionID="159d718f6c29ca5e1f84b5e6d7132f4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11B2E31-4703-4F4D-BB47-74A8364BAC36}">
  <ds:schemaRefs>
    <ds:schemaRef ds:uri="http://purl.org/dc/terms/"/>
    <ds:schemaRef ds:uri="http://schemas.openxmlformats.org/package/2006/metadata/core-properties"/>
    <ds:schemaRef ds:uri="http://www.w3.org/XML/1998/namespace"/>
    <ds:schemaRef ds:uri="http://purl.org/dc/elements/1.1/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ABA723BE-B83E-44FD-90E1-73FE10FBD3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A0DEEE7B-1543-4EFF-B3C1-AFC857C3E50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369</TotalTime>
  <Words>386</Words>
  <Application>Microsoft Office PowerPoint</Application>
  <PresentationFormat>On-screen Show (16:9)</PresentationFormat>
  <Paragraphs>58</Paragraphs>
  <Slides>3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Office Theme</vt:lpstr>
      <vt:lpstr>xoserve templates</vt:lpstr>
      <vt:lpstr>1_xoserve templates</vt:lpstr>
      <vt:lpstr>2_xoserve templates</vt:lpstr>
      <vt:lpstr>3_xoserve templates</vt:lpstr>
      <vt:lpstr>4_xoserve templates</vt:lpstr>
      <vt:lpstr>XRN4914 MOD 0651- Retrospective Data Update Provision</vt:lpstr>
      <vt:lpstr>Proof of Concept: Progress update</vt:lpstr>
      <vt:lpstr>Next Steps </vt:lpstr>
    </vt:vector>
  </TitlesOfParts>
  <Company>National Gri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tional Grid</dc:creator>
  <cp:lastModifiedBy>National Grid</cp:lastModifiedBy>
  <cp:revision>411</cp:revision>
  <dcterms:created xsi:type="dcterms:W3CDTF">2018-09-02T17:12:15Z</dcterms:created>
  <dcterms:modified xsi:type="dcterms:W3CDTF">2019-07-30T18:31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562736912</vt:i4>
  </property>
  <property fmtid="{D5CDD505-2E9C-101B-9397-08002B2CF9AE}" pid="3" name="_NewReviewCycle">
    <vt:lpwstr/>
  </property>
  <property fmtid="{D5CDD505-2E9C-101B-9397-08002B2CF9AE}" pid="4" name="_EmailSubject">
    <vt:lpwstr>ChMC / DSG Slides</vt:lpwstr>
  </property>
  <property fmtid="{D5CDD505-2E9C-101B-9397-08002B2CF9AE}" pid="5" name="_AuthorEmail">
    <vt:lpwstr>tracy.oconnor@xoserve.com</vt:lpwstr>
  </property>
  <property fmtid="{D5CDD505-2E9C-101B-9397-08002B2CF9AE}" pid="6" name="_AuthorEmailDisplayName">
    <vt:lpwstr>OConnor, Tracy</vt:lpwstr>
  </property>
  <property fmtid="{D5CDD505-2E9C-101B-9397-08002B2CF9AE}" pid="7" name="_PreviousAdHocReviewCycleID">
    <vt:i4>-1944070578</vt:i4>
  </property>
  <property fmtid="{D5CDD505-2E9C-101B-9397-08002B2CF9AE}" pid="8" name="ContentTypeId">
    <vt:lpwstr>0x0101006E927B77B7F39148B9CB17AE711C8D35</vt:lpwstr>
  </property>
</Properties>
</file>